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16"/>
  </p:notesMasterIdLst>
  <p:handoutMasterIdLst>
    <p:handoutMasterId r:id="rId17"/>
  </p:handoutMasterIdLst>
  <p:sldIdLst>
    <p:sldId id="438" r:id="rId3"/>
    <p:sldId id="550" r:id="rId4"/>
    <p:sldId id="577" r:id="rId5"/>
    <p:sldId id="578" r:id="rId6"/>
    <p:sldId id="575" r:id="rId7"/>
    <p:sldId id="571" r:id="rId8"/>
    <p:sldId id="562" r:id="rId9"/>
    <p:sldId id="576" r:id="rId10"/>
    <p:sldId id="563" r:id="rId11"/>
    <p:sldId id="566" r:id="rId12"/>
    <p:sldId id="580" r:id="rId13"/>
    <p:sldId id="558" r:id="rId14"/>
    <p:sldId id="582" r:id="rId1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  <p15:guide id="5" pos="2315" userDrawn="1">
          <p15:clr>
            <a:srgbClr val="A4A3A4"/>
          </p15:clr>
        </p15:guide>
        <p15:guide id="6" pos="2261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  <p15:guide id="8" pos="2160" userDrawn="1">
          <p15:clr>
            <a:srgbClr val="A4A3A4"/>
          </p15:clr>
        </p15:guide>
        <p15:guide id="9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DEECFF"/>
    <a:srgbClr val="00269E"/>
    <a:srgbClr val="FF5050"/>
    <a:srgbClr val="369A40"/>
    <a:srgbClr val="55864A"/>
    <a:srgbClr val="B9FFD9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05" autoAdjust="0"/>
    <p:restoredTop sz="88953" autoAdjust="0"/>
  </p:normalViewPr>
  <p:slideViewPr>
    <p:cSldViewPr>
      <p:cViewPr varScale="1">
        <p:scale>
          <a:sx n="99" d="100"/>
          <a:sy n="99" d="100"/>
        </p:scale>
        <p:origin x="1488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-4716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36"/>
        <p:guide pos="2265"/>
        <p:guide orient="horz" pos="2932"/>
        <p:guide pos="2212"/>
        <p:guide pos="2315"/>
        <p:guide pos="2261"/>
        <p:guide orient="horz" pos="2928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3037735" cy="464503"/>
          </a:xfrm>
          <a:prstGeom prst="rect">
            <a:avLst/>
          </a:prstGeom>
        </p:spPr>
        <p:txBody>
          <a:bodyPr vert="horz" lIns="90927" tIns="45464" rIns="90927" bIns="4546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5" y="4"/>
            <a:ext cx="3037735" cy="464503"/>
          </a:xfrm>
          <a:prstGeom prst="rect">
            <a:avLst/>
          </a:prstGeom>
        </p:spPr>
        <p:txBody>
          <a:bodyPr vert="horz" lIns="90927" tIns="45464" rIns="90927" bIns="4546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830321"/>
            <a:ext cx="3037735" cy="464503"/>
          </a:xfrm>
          <a:prstGeom prst="rect">
            <a:avLst/>
          </a:prstGeom>
        </p:spPr>
        <p:txBody>
          <a:bodyPr vert="horz" lIns="90927" tIns="45464" rIns="90927" bIns="4546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5" y="8830321"/>
            <a:ext cx="3037735" cy="464503"/>
          </a:xfrm>
          <a:prstGeom prst="rect">
            <a:avLst/>
          </a:prstGeom>
        </p:spPr>
        <p:txBody>
          <a:bodyPr vert="horz" lIns="90927" tIns="45464" rIns="90927" bIns="4546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4551" tIns="47274" rIns="94551" bIns="4727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8" y="0"/>
            <a:ext cx="3037840" cy="464820"/>
          </a:xfrm>
          <a:prstGeom prst="rect">
            <a:avLst/>
          </a:prstGeom>
        </p:spPr>
        <p:txBody>
          <a:bodyPr vert="horz" lIns="94551" tIns="47274" rIns="94551" bIns="4727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51" tIns="47274" rIns="94551" bIns="4727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800"/>
            <a:ext cx="5608320" cy="4183380"/>
          </a:xfrm>
          <a:prstGeom prst="rect">
            <a:avLst/>
          </a:prstGeom>
        </p:spPr>
        <p:txBody>
          <a:bodyPr vert="horz" lIns="94551" tIns="47274" rIns="94551" bIns="4727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5"/>
            <a:ext cx="3037840" cy="464820"/>
          </a:xfrm>
          <a:prstGeom prst="rect">
            <a:avLst/>
          </a:prstGeom>
        </p:spPr>
        <p:txBody>
          <a:bodyPr vert="horz" lIns="94551" tIns="47274" rIns="94551" bIns="4727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8" y="8829975"/>
            <a:ext cx="3037840" cy="464820"/>
          </a:xfrm>
          <a:prstGeom prst="rect">
            <a:avLst/>
          </a:prstGeom>
        </p:spPr>
        <p:txBody>
          <a:bodyPr vert="horz" lIns="94551" tIns="47274" rIns="94551" bIns="4727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046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32" indent="-171432">
              <a:buFontTx/>
              <a:buChar char="-"/>
            </a:pPr>
            <a:r>
              <a:rPr lang="en-US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ine out of ten routes the run time is longer than the scheduled</a:t>
            </a:r>
            <a:r>
              <a:rPr lang="en-US" baseline="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ime</a:t>
            </a:r>
          </a:p>
          <a:p>
            <a:pPr marL="171432" indent="-171432">
              <a:buFontTx/>
              <a:buChar char="-"/>
            </a:pPr>
            <a:r>
              <a:rPr lang="en-US" baseline="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roximately 85% </a:t>
            </a:r>
          </a:p>
          <a:p>
            <a:pPr marL="171432" indent="-171432">
              <a:buFontTx/>
              <a:buChar char="-"/>
            </a:pPr>
            <a:r>
              <a:rPr lang="en-US" baseline="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quence the route and make the runtime match the schedule (makes schedules difficult because run times are all different)</a:t>
            </a:r>
          </a:p>
          <a:p>
            <a:pPr marL="171432" indent="-171432">
              <a:buFontTx/>
              <a:buChar char="-"/>
            </a:pPr>
            <a:r>
              <a:rPr lang="en-US" baseline="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solidate routes CT1 and Route 1 – where they run the same segment</a:t>
            </a:r>
          </a:p>
          <a:p>
            <a:pPr marL="171432" indent="-171432">
              <a:buFontTx/>
              <a:buChar char="-"/>
            </a:pPr>
            <a:r>
              <a:rPr lang="en-US" baseline="0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uce route duplication - midterm</a:t>
            </a:r>
            <a:endParaRPr lang="en-US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404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" name="Shape 117"/>
          <p:cNvSpPr txBox="1">
            <a:spLocks noGrp="1"/>
          </p:cNvSpPr>
          <p:nvPr>
            <p:ph type="body" idx="1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6" tIns="91416" rIns="91416" bIns="91416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6582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336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1648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7" name="Shape 207"/>
          <p:cNvSpPr txBox="1">
            <a:spLocks noGrp="1"/>
          </p:cNvSpPr>
          <p:nvPr>
            <p:ph type="body" idx="1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6" tIns="91416" rIns="91416" bIns="91416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91923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" name="Shape 117"/>
          <p:cNvSpPr txBox="1">
            <a:spLocks noGrp="1"/>
          </p:cNvSpPr>
          <p:nvPr>
            <p:ph type="body" idx="1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6" tIns="91416" rIns="91416" bIns="91416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951970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117 changes in total, on 54 rout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286F8-8D0F-40F2-A42D-73DA64F3F8C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719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" name="Shape 117"/>
          <p:cNvSpPr txBox="1">
            <a:spLocks noGrp="1"/>
          </p:cNvSpPr>
          <p:nvPr>
            <p:ph type="body" idx="1"/>
          </p:nvPr>
        </p:nvSpPr>
        <p:spPr>
          <a:xfrm>
            <a:off x="685800" y="4343401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6" tIns="91416" rIns="91416" bIns="91416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5622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117 changes in total, on 54 rout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D286F8-8D0F-40F2-A42D-73DA64F3F8C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158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dark)" type="blank">
  <p:cSld name="Blank (dark)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/>
          <p:nvPr/>
        </p:nvSpPr>
        <p:spPr>
          <a:xfrm>
            <a:off x="100" y="-7733"/>
            <a:ext cx="9144000" cy="6866000"/>
          </a:xfrm>
          <a:prstGeom prst="rect">
            <a:avLst/>
          </a:prstGeom>
          <a:solidFill>
            <a:srgbClr val="165C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" name="Shape 16"/>
          <p:cNvCxnSpPr/>
          <p:nvPr/>
        </p:nvCxnSpPr>
        <p:spPr>
          <a:xfrm>
            <a:off x="0" y="796317"/>
            <a:ext cx="9421500" cy="0"/>
          </a:xfrm>
          <a:prstGeom prst="straightConnector1">
            <a:avLst/>
          </a:prstGeom>
          <a:noFill/>
          <a:ln w="28575" cap="flat" cmpd="sng">
            <a:solidFill>
              <a:srgbClr val="FFCE0C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967267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72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E6C5E-EB96-49E9-952F-FF78FFA9C84B}" type="datetimeFigureOut">
              <a:rPr lang="en-US" smtClean="0"/>
              <a:t>7/16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 smtClean="0">
                <a:solidFill>
                  <a:schemeClr val="tx1"/>
                </a:solidFill>
              </a:rPr>
              <a:t>Please put your source her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02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ird: text fill left, anything right" userDrawn="1">
  <p:cSld name="Third: text fill left, anything righ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6559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ly 1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7/16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ly 1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  <p:sldLayoutId id="2147483736" r:id="rId27"/>
    <p:sldLayoutId id="2147483737" r:id="rId28"/>
    <p:sldLayoutId id="2147483738" r:id="rId29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5.tiff"/><Relationship Id="rId7" Type="http://schemas.openxmlformats.org/officeDocument/2006/relationships/image" Target="../media/image9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.emf"/><Relationship Id="rId11" Type="http://schemas.openxmlformats.org/officeDocument/2006/relationships/image" Target="../media/image13.emf"/><Relationship Id="rId5" Type="http://schemas.openxmlformats.org/officeDocument/2006/relationships/image" Target="../media/image7.tiff"/><Relationship Id="rId10" Type="http://schemas.openxmlformats.org/officeDocument/2006/relationships/image" Target="../media/image12.emf"/><Relationship Id="rId4" Type="http://schemas.openxmlformats.org/officeDocument/2006/relationships/image" Target="../media/image6.tiff"/><Relationship Id="rId9" Type="http://schemas.openxmlformats.org/officeDocument/2006/relationships/image" Target="../media/image11.tif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sz="2500" dirty="0">
                <a:solidFill>
                  <a:srgbClr val="0033CC"/>
                </a:solidFill>
              </a:rPr>
              <a:t>Better Bus Project - Up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63853" y="4648200"/>
            <a:ext cx="3352800" cy="76200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sz="2500" b="0" dirty="0">
                <a:solidFill>
                  <a:srgbClr val="0033CC"/>
                </a:solidFill>
                <a:ea typeface="+mj-ea"/>
              </a:rPr>
              <a:t>July 2018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en-US" sz="2400" b="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24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859219"/>
            <a:ext cx="8229600" cy="685800"/>
          </a:xfrm>
        </p:spPr>
        <p:txBody>
          <a:bodyPr>
            <a:normAutofit/>
          </a:bodyPr>
          <a:lstStyle/>
          <a:p>
            <a:r>
              <a:rPr lang="en-US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Commitment to Service Improvement – September 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1959343"/>
              </p:ext>
            </p:extLst>
          </p:nvPr>
        </p:nvGraphicFramePr>
        <p:xfrm>
          <a:off x="469900" y="2895600"/>
          <a:ext cx="8267702" cy="3718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3921">
                  <a:extLst>
                    <a:ext uri="{9D8B030D-6E8A-4147-A177-3AD203B41FA5}">
                      <a16:colId xmlns:a16="http://schemas.microsoft.com/office/drawing/2014/main" val="185605707"/>
                    </a:ext>
                  </a:extLst>
                </a:gridCol>
                <a:gridCol w="6083781">
                  <a:extLst>
                    <a:ext uri="{9D8B030D-6E8A-4147-A177-3AD203B41FA5}">
                      <a16:colId xmlns:a16="http://schemas.microsoft.com/office/drawing/2014/main" val="3171772814"/>
                    </a:ext>
                  </a:extLst>
                </a:gridCol>
              </a:tblGrid>
              <a:tr h="31616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rridor/Route</a:t>
                      </a:r>
                      <a:endParaRPr lang="en-US" sz="1600" b="1" kern="1200" dirty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ce Type</a:t>
                      </a:r>
                      <a:endParaRPr lang="en-US" sz="1600" b="1" kern="1200" dirty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186640"/>
                  </a:ext>
                </a:extLst>
              </a:tr>
              <a:tr h="1005974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ditional operators</a:t>
                      </a:r>
                      <a:endParaRPr lang="en-US" sz="16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</a:t>
                      </a: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olicy for dropped trips implemented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-interlined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d run time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9506115"/>
                  </a:ext>
                </a:extLst>
              </a:tr>
              <a:tr h="54610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</a:t>
                      </a:r>
                      <a:r>
                        <a:rPr lang="en-US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92</a:t>
                      </a:r>
                      <a:endPara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ditional operators</a:t>
                      </a:r>
                      <a:endParaRPr lang="en-US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d run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7046512"/>
                  </a:ext>
                </a:extLst>
              </a:tr>
              <a:tr h="54610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ditional Operators</a:t>
                      </a:r>
                      <a:endParaRPr lang="en-US" sz="16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d run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643019"/>
                  </a:ext>
                </a:extLst>
              </a:tr>
              <a:tr h="316163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</a:t>
                      </a:r>
                      <a:r>
                        <a:rPr lang="en-US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5, 37, 40 and 50</a:t>
                      </a:r>
                      <a:endPara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dicated 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lane implemen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2305267"/>
                  </a:ext>
                </a:extLst>
              </a:tr>
              <a:tr h="54610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te</a:t>
                      </a:r>
                      <a:r>
                        <a:rPr lang="en-US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ight Pilot</a:t>
                      </a:r>
                      <a:endPara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.1 M dollar investment in late night service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s,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8 changes 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636105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19100" y="1508922"/>
            <a:ext cx="47879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20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83 changes; 49 routes</a:t>
            </a:r>
          </a:p>
          <a:p>
            <a:pPr algn="ctr">
              <a:spcAft>
                <a:spcPts val="600"/>
              </a:spcAft>
            </a:pPr>
            <a:r>
              <a:rPr lang="en-US" sz="20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58,571 Passenger Trips</a:t>
            </a:r>
          </a:p>
          <a:p>
            <a:pPr algn="ctr">
              <a:spcAft>
                <a:spcPts val="600"/>
              </a:spcAft>
            </a:pPr>
            <a:r>
              <a:rPr lang="en-US" sz="20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8% </a:t>
            </a:r>
            <a:r>
              <a:rPr lang="en-US" sz="2000" dirty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f Trips/Weekday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378818" y="1308868"/>
            <a:ext cx="3479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bined Fixed Rou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un Time Adjust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hift Tri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adway Adjustmen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-interli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ource Adjustment</a:t>
            </a:r>
          </a:p>
        </p:txBody>
      </p:sp>
    </p:spTree>
    <p:extLst>
      <p:ext uri="{BB962C8B-B14F-4D97-AF65-F5344CB8AC3E}">
        <p14:creationId xmlns:p14="http://schemas.microsoft.com/office/powerpoint/2010/main" val="3294931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8392823" cy="466344"/>
          </a:xfrm>
        </p:spPr>
        <p:txBody>
          <a:bodyPr/>
          <a:lstStyle/>
          <a:p>
            <a:r>
              <a:rPr lang="en-US" sz="2200" kern="1200" dirty="0" smtClean="0">
                <a:solidFill>
                  <a:srgbClr val="0033CC"/>
                </a:solidFill>
              </a:rPr>
              <a:t>December: Focused Approach for Expedited </a:t>
            </a:r>
            <a:r>
              <a:rPr lang="en-US" sz="2200" kern="1200" dirty="0">
                <a:solidFill>
                  <a:srgbClr val="0033CC"/>
                </a:solidFill>
              </a:rPr>
              <a:t>Improvement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81000" y="1620252"/>
            <a:ext cx="4191001" cy="51334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Key Bus Rout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724400" y="1620252"/>
            <a:ext cx="4191000" cy="51334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Key Corridors &amp; Routes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21842" y="2362200"/>
            <a:ext cx="4150159" cy="2895600"/>
          </a:xfrm>
          <a:prstGeom prst="roundRect">
            <a:avLst>
              <a:gd name="adj" fmla="val 539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8 Routes</a:t>
            </a:r>
          </a:p>
          <a:p>
            <a:pPr algn="ctr"/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assenger Trips</a:t>
            </a: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68,919/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kdy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verage Passenger Trips</a:t>
            </a: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8,446/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kdy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705350" y="2362200"/>
            <a:ext cx="4150159" cy="2895448"/>
          </a:xfrm>
          <a:prstGeom prst="roundRect">
            <a:avLst>
              <a:gd name="adj" fmla="val 6768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5 Routes</a:t>
            </a:r>
          </a:p>
          <a:p>
            <a:pPr algn="ctr"/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assenger Trips</a:t>
            </a: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39,451/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kdy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verage Passenger Trips</a:t>
            </a: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6,841/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kdy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421842" y="5489452"/>
            <a:ext cx="4150159" cy="81509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41%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4705349" y="5486400"/>
            <a:ext cx="4150159" cy="808622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58%</a:t>
            </a:r>
          </a:p>
        </p:txBody>
      </p:sp>
    </p:spTree>
    <p:extLst>
      <p:ext uri="{BB962C8B-B14F-4D97-AF65-F5344CB8AC3E}">
        <p14:creationId xmlns:p14="http://schemas.microsoft.com/office/powerpoint/2010/main" val="4107665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2720" y="865095"/>
            <a:ext cx="869128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cember: Goal &gt;25% Passenger Trips/Weekday</a:t>
            </a:r>
            <a:endParaRPr lang="en-US" sz="2400" b="1" dirty="0">
              <a:solidFill>
                <a:srgbClr val="0033CC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30309" y="1524000"/>
            <a:ext cx="3946802" cy="381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Key Routes &amp; Corridor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11259" y="2078454"/>
            <a:ext cx="3908341" cy="3463942"/>
          </a:xfrm>
          <a:prstGeom prst="roundRect">
            <a:avLst>
              <a:gd name="adj" fmla="val 6768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35 Routes</a:t>
            </a:r>
          </a:p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assenger Trips </a:t>
            </a:r>
          </a:p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239,451 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kdy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verage Passenger Trips 6,841/</a:t>
            </a:r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kdy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11258" y="5618748"/>
            <a:ext cx="3908341" cy="808622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8%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3606573"/>
              </p:ext>
            </p:extLst>
          </p:nvPr>
        </p:nvGraphicFramePr>
        <p:xfrm>
          <a:off x="4717198" y="1485900"/>
          <a:ext cx="4188279" cy="4941471"/>
        </p:xfrm>
        <a:graphic>
          <a:graphicData uri="http://schemas.openxmlformats.org/drawingml/2006/table">
            <a:tbl>
              <a:tblPr>
                <a:tableStyleId>{0660B408-B3CF-4A94-85FC-2B1E0A45F4A2}</a:tableStyleId>
              </a:tblPr>
              <a:tblGrid>
                <a:gridCol w="4188279">
                  <a:extLst>
                    <a:ext uri="{9D8B030D-6E8A-4147-A177-3AD203B41FA5}">
                      <a16:colId xmlns:a16="http://schemas.microsoft.com/office/drawing/2014/main" val="4220455287"/>
                    </a:ext>
                  </a:extLst>
                </a:gridCol>
              </a:tblGrid>
              <a:tr h="355117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153670" algn="l"/>
                        </a:tabLs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nning time adjustment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5837" marR="6583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1046023"/>
                  </a:ext>
                </a:extLst>
              </a:tr>
              <a:tr h="355117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153670" algn="l"/>
                        </a:tabLs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arture time adjustment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5837" marR="6583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602788"/>
                  </a:ext>
                </a:extLst>
              </a:tr>
              <a:tr h="1420467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153670" algn="l"/>
                        </a:tabLs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dway changes to match ridership and service levels (provided the frequency and comfort minimums are still met)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5837" marR="6583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387365"/>
                  </a:ext>
                </a:extLst>
              </a:tr>
              <a:tr h="355117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153670" algn="l"/>
                        </a:tabLs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alignment change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5837" marR="6583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108181"/>
                  </a:ext>
                </a:extLst>
              </a:tr>
              <a:tr h="710234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153670" algn="l"/>
                        </a:tabLs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an of service changes within 1 hour or les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5837" marR="6583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63650"/>
                  </a:ext>
                </a:extLst>
              </a:tr>
              <a:tr h="355117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153670" algn="l"/>
                        </a:tabLs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extensions of 1 mile or les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5837" marR="6583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971381"/>
                  </a:ext>
                </a:extLst>
              </a:tr>
              <a:tr h="355117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153670" algn="l"/>
                        </a:tabLs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variation 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ifications</a:t>
                      </a:r>
                    </a:p>
                  </a:txBody>
                  <a:tcPr marL="65837" marR="6583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5915203"/>
                  </a:ext>
                </a:extLst>
              </a:tr>
              <a:tr h="1035185">
                <a:tc>
                  <a:txBody>
                    <a:bodyPr/>
                    <a:lstStyle/>
                    <a:p>
                      <a:pPr marL="171450" marR="0" indent="-17145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tabLst>
                          <a:tab pos="153670" algn="l"/>
                        </a:tabLs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timization (Dedicated Bus Lanes, Transit Signal Prioritization and Signal Optimization)</a:t>
                      </a:r>
                    </a:p>
                  </a:txBody>
                  <a:tcPr marL="65837" marR="6583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6650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128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dirty="0" smtClean="0">
                <a:solidFill>
                  <a:srgbClr val="0033CC"/>
                </a:solidFill>
              </a:rPr>
              <a:t>Next Steps</a:t>
            </a:r>
            <a:endParaRPr lang="en-US" sz="2500" dirty="0">
              <a:solidFill>
                <a:srgbClr val="0033CC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2685" y="1524000"/>
            <a:ext cx="8300316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frastructure 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dicated Bus Lanes</a:t>
            </a:r>
          </a:p>
          <a:p>
            <a:pPr marL="1200150" lvl="5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roadway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rthbound (new)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verett (July 2018); Washington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t. (Roslindale)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oston (Aug 2018)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out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ass Ave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mbridge (Mid 2018); M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Auburn St.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mbridge/Watertown (Oct 2018); Nort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ass Ave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rlington (Late 2018); and Broadwa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omerville (Late 2018)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ransit Signal Priority</a:t>
            </a:r>
          </a:p>
          <a:p>
            <a:pPr marL="1200150" lvl="5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eacon Street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rookline; Commonwealt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venue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oston; Huntington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venue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oston; Massachusetts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venue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mbridge; M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 Auburn St.,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mbridge/Watertown; and Massachusetts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venue, Arlington</a:t>
            </a:r>
          </a:p>
          <a:p>
            <a:pPr marL="457200" lvl="4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dditional Investment for Service Improvements (Tier Development)</a:t>
            </a:r>
          </a:p>
          <a:p>
            <a:pPr marL="742950" lvl="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ctober to November 2018 – Finalize Development of Tiers</a:t>
            </a:r>
          </a:p>
          <a:p>
            <a:pPr marL="742950" lvl="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ovember 2018 – Board Presentation and Vote for FY20 Operating and Capital Budget Planning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3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etwork Redesign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ugust 2018 – Release of RFP 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ctober 2018 – Notice to Proceed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02029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dirty="0">
                <a:solidFill>
                  <a:srgbClr val="0033CC"/>
                </a:solidFill>
              </a:rPr>
              <a:t>Overview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2685" y="1524000"/>
            <a:ext cx="8300316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e MBTA Bus Network Strategy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lements of Improving the Bus Network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imeline and Sequencing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Our Current Bus Network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rategy for Expediting Improvements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ervice Improvements, as of April 1, 2018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Upcoming Service Improvements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all 2018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inter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</a:p>
          <a:p>
            <a:pPr marL="742950" lvl="4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4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3" indent="-285750">
              <a:buFont typeface="Arial" panose="020B0604020202020204" pitchFamily="34" charset="0"/>
              <a:buChar char="•"/>
            </a:pP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3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3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8227026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 txBox="1">
            <a:spLocks noGrp="1"/>
          </p:cNvSpPr>
          <p:nvPr>
            <p:ph type="ctrTitle" idx="4294967295"/>
          </p:nvPr>
        </p:nvSpPr>
        <p:spPr>
          <a:xfrm>
            <a:off x="381000" y="3514200"/>
            <a:ext cx="8317148" cy="10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1E23"/>
              </a:buClr>
              <a:buSzPts val="2000"/>
            </a:pPr>
            <a:r>
              <a:rPr lang="en" sz="30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The MBTA Bus Network </a:t>
            </a:r>
            <a:br>
              <a:rPr lang="en" sz="30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Strategy</a:t>
            </a:r>
            <a:br>
              <a:rPr lang="en" sz="30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</a:br>
            <a:r>
              <a:rPr lang="en" sz="2400" dirty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/>
            </a:r>
            <a:br>
              <a:rPr lang="en" sz="2400" dirty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</a:br>
            <a:r>
              <a:rPr lang="en" sz="24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Elements of Improving the Bus Network</a:t>
            </a:r>
            <a:br>
              <a:rPr lang="en" sz="24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</a:br>
            <a:r>
              <a:rPr lang="en" sz="24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Timeline and Sequencing</a:t>
            </a:r>
            <a:br>
              <a:rPr lang="en" sz="24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</a:br>
            <a:r>
              <a:rPr lang="en" sz="24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Our Current Bus Network</a:t>
            </a:r>
            <a:br>
              <a:rPr lang="en" sz="24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</a:br>
            <a:r>
              <a:rPr lang="en" sz="2400" dirty="0" smtClean="0">
                <a:solidFill>
                  <a:srgbClr val="FFCE0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Strategy for Expediting Improvements</a:t>
            </a:r>
            <a:endParaRPr sz="1800" dirty="0">
              <a:solidFill>
                <a:srgbClr val="FFCE0C"/>
              </a:solidFill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6023403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2720" y="833735"/>
            <a:ext cx="845275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s of Improving the Bus Network </a:t>
            </a:r>
            <a:endParaRPr lang="en-US" sz="2400" b="1" dirty="0">
              <a:solidFill>
                <a:srgbClr val="00269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056561"/>
              </p:ext>
            </p:extLst>
          </p:nvPr>
        </p:nvGraphicFramePr>
        <p:xfrm>
          <a:off x="452720" y="1447800"/>
          <a:ext cx="8310280" cy="5125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5080">
                  <a:extLst>
                    <a:ext uri="{9D8B030D-6E8A-4147-A177-3AD203B41FA5}">
                      <a16:colId xmlns:a16="http://schemas.microsoft.com/office/drawing/2014/main" val="2345946438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829214136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885259779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7771304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e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 Area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56138877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tter Bus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ject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I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anges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endParaRPr lang="en-US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budget impact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marR="0" lvl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ed on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outes with high passenger trips</a:t>
                      </a:r>
                    </a:p>
                    <a:p>
                      <a:pPr marL="115888" marR="0" lvl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5888" marR="0" lvl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ed on specific requests and considerations</a:t>
                      </a:r>
                    </a:p>
                    <a:p>
                      <a:pPr marL="115888" marR="0" lvl="0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204275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II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inued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uarterly Changes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endParaRPr lang="en-US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er Development, including proposals to realign routes, alter routes &gt;1 mile, implement bus stop changes, etc.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endParaRPr lang="en-US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get impacts and considerations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marR="0" lvl="1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ed on routes with high and moderate passenger trips</a:t>
                      </a:r>
                    </a:p>
                    <a:p>
                      <a:pPr marL="115888" marR="0" lvl="1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5888" marR="0" lvl="1" indent="-1158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ed on specific requests and considerations</a:t>
                      </a:r>
                    </a:p>
                    <a:p>
                      <a:pPr marL="115888" lvl="1" indent="-115888">
                        <a:buFont typeface="Arial" panose="020B0604020202020204" pitchFamily="34" charset="0"/>
                        <a:buChar char="•"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3738325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work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design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marR="0" indent="-115888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 new bus network, including routes, frequency, span of service, and coverage to better serve the region’s travel needs.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marR="0" indent="-115888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l routes, with a specific focus</a:t>
                      </a:r>
                      <a:r>
                        <a:rPr lang="en-US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to rebuild moderate to low passenger trip routes and corridors, as higher passenger trip routes and corridors are addressed in Better Bus Projec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44105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2905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5385242"/>
              </p:ext>
            </p:extLst>
          </p:nvPr>
        </p:nvGraphicFramePr>
        <p:xfrm>
          <a:off x="533406" y="1447801"/>
          <a:ext cx="8229588" cy="50989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594">
                  <a:extLst>
                    <a:ext uri="{9D8B030D-6E8A-4147-A177-3AD203B41FA5}">
                      <a16:colId xmlns:a16="http://schemas.microsoft.com/office/drawing/2014/main" val="1225467521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val="2925236112"/>
                    </a:ext>
                  </a:extLst>
                </a:gridCol>
                <a:gridCol w="331866">
                  <a:extLst>
                    <a:ext uri="{9D8B030D-6E8A-4147-A177-3AD203B41FA5}">
                      <a16:colId xmlns:a16="http://schemas.microsoft.com/office/drawing/2014/main" val="3463716312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3999418273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1684919717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1502594338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535649345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1234135889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4183469740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2529116891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2762492871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16057545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2484245447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892406283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361613089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328760507"/>
                    </a:ext>
                  </a:extLst>
                </a:gridCol>
                <a:gridCol w="569386">
                  <a:extLst>
                    <a:ext uri="{9D8B030D-6E8A-4147-A177-3AD203B41FA5}">
                      <a16:colId xmlns:a16="http://schemas.microsoft.com/office/drawing/2014/main" val="3987332838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1279113094"/>
                    </a:ext>
                  </a:extLst>
                </a:gridCol>
                <a:gridCol w="388833">
                  <a:extLst>
                    <a:ext uri="{9D8B030D-6E8A-4147-A177-3AD203B41FA5}">
                      <a16:colId xmlns:a16="http://schemas.microsoft.com/office/drawing/2014/main" val="3153671732"/>
                    </a:ext>
                  </a:extLst>
                </a:gridCol>
              </a:tblGrid>
              <a:tr h="389207">
                <a:tc rowSpan="2">
                  <a:txBody>
                    <a:bodyPr/>
                    <a:lstStyle/>
                    <a:p>
                      <a:pPr algn="l"/>
                      <a:endParaRPr lang="en-US" sz="15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gridSpan="6"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gridSpan="12"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tc hMerge="1"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vert="vert"/>
                </a:tc>
                <a:extLst>
                  <a:ext uri="{0D108BD9-81ED-4DB2-BD59-A6C34878D82A}">
                    <a16:rowId xmlns:a16="http://schemas.microsoft.com/office/drawing/2014/main" val="3863610163"/>
                  </a:ext>
                </a:extLst>
              </a:tr>
              <a:tr h="1245462">
                <a:tc v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</a:t>
                      </a:r>
                      <a:r>
                        <a:rPr lang="en-US" sz="15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ober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er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ember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uary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ruary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h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 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y 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 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ober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er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ember 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vert="vert" anchor="ctr"/>
                </a:tc>
                <a:extLst>
                  <a:ext uri="{0D108BD9-81ED-4DB2-BD59-A6C34878D82A}">
                    <a16:rowId xmlns:a16="http://schemas.microsoft.com/office/drawing/2014/main" val="2192678099"/>
                  </a:ext>
                </a:extLst>
              </a:tr>
              <a:tr h="7132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Service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ange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69972"/>
                  </a:ext>
                </a:extLst>
              </a:tr>
              <a:tr h="772515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rastructure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mprovement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2243203"/>
                  </a:ext>
                </a:extLst>
              </a:tr>
              <a:tr h="817254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ditional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vestments for Service Improvement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753927"/>
                  </a:ext>
                </a:extLst>
              </a:tr>
              <a:tr h="1015322"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work Redesign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8111238"/>
                  </a:ext>
                </a:extLst>
              </a:tr>
            </a:tbl>
          </a:graphicData>
        </a:graphic>
      </p:graphicFrame>
      <p:sp>
        <p:nvSpPr>
          <p:cNvPr id="23" name="Rounded Rectangle 22"/>
          <p:cNvSpPr/>
          <p:nvPr/>
        </p:nvSpPr>
        <p:spPr>
          <a:xfrm>
            <a:off x="5323570" y="4724400"/>
            <a:ext cx="3439423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kern="1200" dirty="0" smtClean="0">
                <a:solidFill>
                  <a:srgbClr val="0033CC"/>
                </a:solidFill>
              </a:rPr>
              <a:t>Timeline and Sequencing </a:t>
            </a:r>
            <a:endParaRPr lang="en-US" sz="2400" kern="1200" dirty="0">
              <a:solidFill>
                <a:srgbClr val="0033CC"/>
              </a:solidFill>
            </a:endParaRPr>
          </a:p>
        </p:txBody>
      </p:sp>
      <p:sp>
        <p:nvSpPr>
          <p:cNvPr id="11" name="5-Point Star 10"/>
          <p:cNvSpPr/>
          <p:nvPr/>
        </p:nvSpPr>
        <p:spPr>
          <a:xfrm>
            <a:off x="2648550" y="328422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5-Point Star 11"/>
          <p:cNvSpPr/>
          <p:nvPr/>
        </p:nvSpPr>
        <p:spPr>
          <a:xfrm>
            <a:off x="3962400" y="3276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5-Point Star 12"/>
          <p:cNvSpPr/>
          <p:nvPr/>
        </p:nvSpPr>
        <p:spPr>
          <a:xfrm>
            <a:off x="7247825" y="3276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4" name="5-Point Star 13"/>
          <p:cNvSpPr/>
          <p:nvPr/>
        </p:nvSpPr>
        <p:spPr>
          <a:xfrm>
            <a:off x="8534400" y="3276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5" name="5-Point Star 14"/>
          <p:cNvSpPr/>
          <p:nvPr/>
        </p:nvSpPr>
        <p:spPr>
          <a:xfrm>
            <a:off x="5334000" y="3276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5-Point Star 15"/>
          <p:cNvSpPr/>
          <p:nvPr/>
        </p:nvSpPr>
        <p:spPr>
          <a:xfrm>
            <a:off x="6248400" y="3276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7" name="Rounded Rectangle 16"/>
          <p:cNvSpPr/>
          <p:nvPr/>
        </p:nvSpPr>
        <p:spPr>
          <a:xfrm>
            <a:off x="2648550" y="4724400"/>
            <a:ext cx="70425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raf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410550" y="4724400"/>
            <a:ext cx="704250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Vot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5-Point Star 18"/>
          <p:cNvSpPr/>
          <p:nvPr/>
        </p:nvSpPr>
        <p:spPr>
          <a:xfrm>
            <a:off x="5332396" y="4800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5-Point Star 19"/>
          <p:cNvSpPr/>
          <p:nvPr/>
        </p:nvSpPr>
        <p:spPr>
          <a:xfrm>
            <a:off x="7247825" y="4824262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21" name="5-Point Star 20"/>
          <p:cNvSpPr/>
          <p:nvPr/>
        </p:nvSpPr>
        <p:spPr>
          <a:xfrm>
            <a:off x="8534400" y="4824262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22" name="5-Point Star 21"/>
          <p:cNvSpPr/>
          <p:nvPr/>
        </p:nvSpPr>
        <p:spPr>
          <a:xfrm>
            <a:off x="6248400" y="4824262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24" name="TextBox 23"/>
          <p:cNvSpPr txBox="1"/>
          <p:nvPr/>
        </p:nvSpPr>
        <p:spPr>
          <a:xfrm>
            <a:off x="5410200" y="6400800"/>
            <a:ext cx="5105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* Bus procurement (April 2019)</a:t>
            </a:r>
          </a:p>
        </p:txBody>
      </p:sp>
      <p:sp>
        <p:nvSpPr>
          <p:cNvPr id="26" name="5-Point Star 25"/>
          <p:cNvSpPr/>
          <p:nvPr/>
        </p:nvSpPr>
        <p:spPr>
          <a:xfrm>
            <a:off x="1905000" y="4038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5-Point Star 26"/>
          <p:cNvSpPr/>
          <p:nvPr/>
        </p:nvSpPr>
        <p:spPr>
          <a:xfrm>
            <a:off x="2247500" y="4038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5-Point Star 27"/>
          <p:cNvSpPr/>
          <p:nvPr/>
        </p:nvSpPr>
        <p:spPr>
          <a:xfrm>
            <a:off x="2772075" y="4038600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5-Point Star 28"/>
          <p:cNvSpPr/>
          <p:nvPr/>
        </p:nvSpPr>
        <p:spPr>
          <a:xfrm>
            <a:off x="2971800" y="4038600"/>
            <a:ext cx="304800" cy="304800"/>
          </a:xfrm>
          <a:prstGeom prst="star5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ounded Rectangle 33"/>
          <p:cNvSpPr/>
          <p:nvPr/>
        </p:nvSpPr>
        <p:spPr>
          <a:xfrm>
            <a:off x="3296650" y="3913544"/>
            <a:ext cx="5466343" cy="53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of Transit Signal Prioritization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5-Point Star 29"/>
          <p:cNvSpPr/>
          <p:nvPr/>
        </p:nvSpPr>
        <p:spPr>
          <a:xfrm>
            <a:off x="3581400" y="4038600"/>
            <a:ext cx="304800" cy="304800"/>
          </a:xfrm>
          <a:prstGeom prst="star5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5-Point Star 30"/>
          <p:cNvSpPr/>
          <p:nvPr/>
        </p:nvSpPr>
        <p:spPr>
          <a:xfrm>
            <a:off x="3886200" y="4038600"/>
            <a:ext cx="304800" cy="304800"/>
          </a:xfrm>
          <a:prstGeom prst="star5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3075268" y="3865760"/>
            <a:ext cx="1261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965225" y="4312265"/>
            <a:ext cx="1261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uild out</a:t>
            </a:r>
          </a:p>
        </p:txBody>
      </p:sp>
      <p:sp>
        <p:nvSpPr>
          <p:cNvPr id="36" name="5-Point Star 35"/>
          <p:cNvSpPr/>
          <p:nvPr/>
        </p:nvSpPr>
        <p:spPr>
          <a:xfrm>
            <a:off x="2057400" y="5855412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5-Point Star 36"/>
          <p:cNvSpPr/>
          <p:nvPr/>
        </p:nvSpPr>
        <p:spPr>
          <a:xfrm>
            <a:off x="2953350" y="5861849"/>
            <a:ext cx="304800" cy="304800"/>
          </a:xfrm>
          <a:prstGeom prst="star5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ounded Rectangle 38"/>
          <p:cNvSpPr/>
          <p:nvPr/>
        </p:nvSpPr>
        <p:spPr>
          <a:xfrm>
            <a:off x="8046469" y="5770645"/>
            <a:ext cx="704250" cy="4849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Vot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3733794" y="5770645"/>
            <a:ext cx="4191006" cy="4849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nalysis and Draf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159962" y="5938049"/>
            <a:ext cx="1261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T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184326" y="5715000"/>
            <a:ext cx="1261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FP</a:t>
            </a:r>
          </a:p>
        </p:txBody>
      </p:sp>
    </p:spTree>
    <p:extLst>
      <p:ext uri="{BB962C8B-B14F-4D97-AF65-F5344CB8AC3E}">
        <p14:creationId xmlns:p14="http://schemas.microsoft.com/office/powerpoint/2010/main" val="2641734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B030D68-45A0-244F-B488-642ED08D1EB9}"/>
              </a:ext>
            </a:extLst>
          </p:cNvPr>
          <p:cNvSpPr txBox="1"/>
          <p:nvPr/>
        </p:nvSpPr>
        <p:spPr>
          <a:xfrm>
            <a:off x="1143000" y="1752600"/>
            <a:ext cx="5260761" cy="4329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rvice is too complex</a:t>
            </a:r>
          </a:p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re are too few frequent routes</a:t>
            </a:r>
          </a:p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rvice is slow and getting slower</a:t>
            </a:r>
          </a:p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rvice is unreliable</a:t>
            </a:r>
          </a:p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chedules are irregular</a:t>
            </a:r>
          </a:p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y buses are overcrowded</a:t>
            </a:r>
          </a:p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y routes start too late</a:t>
            </a:r>
          </a:p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y routes end service too early</a:t>
            </a:r>
          </a:p>
          <a:p>
            <a:pPr>
              <a:spcAft>
                <a:spcPts val="17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y routes operate too infrequentl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EFF683D-27E2-F64D-9029-EC4EDAD5891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234" y="2709588"/>
            <a:ext cx="462303" cy="29587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BF18366-DE83-0D42-931B-6E0D275729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665" y="4112460"/>
            <a:ext cx="629440" cy="4664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1D5FE3-CF6C-3242-B9A6-CE14A553A5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662" y="1503995"/>
            <a:ext cx="573449" cy="57344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CB1F0D5-DBD9-6C43-8432-C36D9FC721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3835" y="4650721"/>
            <a:ext cx="419100" cy="4191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2A0A9CA-2619-A042-BFE8-606D0793D6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835" y="5141658"/>
            <a:ext cx="419100" cy="4191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CF9CA79-7921-EF48-9CF7-31A701DCD6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3835" y="3621522"/>
            <a:ext cx="419100" cy="4191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7A1C416-447A-A94A-8F82-9B860A90EBD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77191" y="3077297"/>
            <a:ext cx="472388" cy="47238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DFF76F0-8B66-D44D-A61B-4543D15EE91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835" y="5632596"/>
            <a:ext cx="419100" cy="4191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A630564-AF52-CB42-AAE6-F5717461376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426" y="2193635"/>
            <a:ext cx="423111" cy="409889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401262" y="816198"/>
            <a:ext cx="8546247" cy="4663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33CC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400" dirty="0" smtClean="0"/>
              <a:t>What </a:t>
            </a:r>
            <a:r>
              <a:rPr lang="en-US" sz="2400" dirty="0"/>
              <a:t>have </a:t>
            </a:r>
            <a:r>
              <a:rPr lang="en-US" sz="2400" dirty="0" smtClean="0"/>
              <a:t>we learned </a:t>
            </a:r>
            <a:r>
              <a:rPr lang="en-US" sz="2400" dirty="0"/>
              <a:t>about the MBTA Bus </a:t>
            </a:r>
            <a:r>
              <a:rPr lang="en-US" sz="2400" dirty="0" smtClean="0"/>
              <a:t>Network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426269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 txBox="1">
            <a:spLocks noGrp="1"/>
          </p:cNvSpPr>
          <p:nvPr>
            <p:ph type="ctrTitle" idx="4294967295"/>
          </p:nvPr>
        </p:nvSpPr>
        <p:spPr>
          <a:xfrm>
            <a:off x="398835" y="1984999"/>
            <a:ext cx="8317148" cy="10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1E23"/>
              </a:buClr>
              <a:buSzPts val="2000"/>
            </a:pP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>Service Improvements</a:t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/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>As of April 1, 2018</a:t>
            </a:r>
          </a:p>
        </p:txBody>
      </p:sp>
    </p:spTree>
    <p:extLst>
      <p:ext uri="{BB962C8B-B14F-4D97-AF65-F5344CB8AC3E}">
        <p14:creationId xmlns:p14="http://schemas.microsoft.com/office/powerpoint/2010/main" val="34569536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859219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ommitment to Service Improvement – April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8964474"/>
              </p:ext>
            </p:extLst>
          </p:nvPr>
        </p:nvGraphicFramePr>
        <p:xfrm>
          <a:off x="469900" y="2675878"/>
          <a:ext cx="8267702" cy="4049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3921">
                  <a:extLst>
                    <a:ext uri="{9D8B030D-6E8A-4147-A177-3AD203B41FA5}">
                      <a16:colId xmlns:a16="http://schemas.microsoft.com/office/drawing/2014/main" val="185605707"/>
                    </a:ext>
                  </a:extLst>
                </a:gridCol>
                <a:gridCol w="6083781">
                  <a:extLst>
                    <a:ext uri="{9D8B030D-6E8A-4147-A177-3AD203B41FA5}">
                      <a16:colId xmlns:a16="http://schemas.microsoft.com/office/drawing/2014/main" val="3171772814"/>
                    </a:ext>
                  </a:extLst>
                </a:gridCol>
              </a:tblGrid>
              <a:tr h="37498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rridor/Route</a:t>
                      </a:r>
                      <a:endParaRPr lang="en-US" sz="1600" b="1" kern="1200" dirty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vice Type</a:t>
                      </a:r>
                      <a:endParaRPr lang="en-US" sz="1600" b="1" kern="1200" dirty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186640"/>
                  </a:ext>
                </a:extLst>
              </a:tr>
              <a:tr h="387016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</a:t>
                      </a:r>
                      <a:r>
                        <a:rPr lang="en-US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2</a:t>
                      </a:r>
                      <a:endPara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</a:t>
                      </a:r>
                      <a:r>
                        <a:rPr lang="en-US" sz="16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12 increased from 57% to 68% reliable on weekdays. Routes 210 and 211 saw similar improvements.</a:t>
                      </a:r>
                      <a:endParaRPr lang="en-US" sz="16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9506115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7</a:t>
                      </a:r>
                      <a:r>
                        <a:rPr lang="en-US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9</a:t>
                      </a:r>
                      <a:endParaRPr lang="en-US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, weekdays: comfort improved from 79% to 82%; reliability from 74% to 83%. Route 9 improved similarly.</a:t>
                      </a:r>
                      <a:endParaRPr lang="en-US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7046512"/>
                  </a:ext>
                </a:extLst>
              </a:tr>
              <a:tr h="134298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SL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route established – 4,300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rips taken dai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643019"/>
                  </a:ext>
                </a:extLst>
              </a:tr>
              <a:tr h="374984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SL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ht cycle adjusted to reduce wait times by 60 secon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2305267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rly Morning Pil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ditional trips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ded to ensure first train connect could be made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6361056"/>
                  </a:ext>
                </a:extLst>
              </a:tr>
              <a:tr h="445114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15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-time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partures for AM peak trips improved from 80% to 89%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467370"/>
                  </a:ext>
                </a:extLst>
              </a:tr>
              <a:tr h="64770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adway Ave Corrid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justed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unning time to allow for better coordination of bus routes along corridor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798160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9900" y="1498221"/>
            <a:ext cx="4787900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14 changes; 53 routes</a:t>
            </a:r>
          </a:p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8,944 Passenger Trips</a:t>
            </a:r>
          </a:p>
          <a:p>
            <a:pPr algn="ctr">
              <a:spcAft>
                <a:spcPts val="600"/>
              </a:spcAft>
            </a:pPr>
            <a:r>
              <a:rPr lang="en-US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9.0% </a:t>
            </a:r>
            <a:r>
              <a:rPr lang="en-US" dirty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f Trips/Weekday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257800" y="1343561"/>
            <a:ext cx="34798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un Time Adjust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hift Tri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adway Adjustmen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ource Adjust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33C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artnerships with Communities</a:t>
            </a:r>
          </a:p>
        </p:txBody>
      </p:sp>
    </p:spTree>
    <p:extLst>
      <p:ext uri="{BB962C8B-B14F-4D97-AF65-F5344CB8AC3E}">
        <p14:creationId xmlns:p14="http://schemas.microsoft.com/office/powerpoint/2010/main" val="30312950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 txBox="1">
            <a:spLocks noGrp="1"/>
          </p:cNvSpPr>
          <p:nvPr>
            <p:ph type="ctrTitle" idx="4294967295"/>
          </p:nvPr>
        </p:nvSpPr>
        <p:spPr>
          <a:xfrm>
            <a:off x="381000" y="4885800"/>
            <a:ext cx="8317148" cy="10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1E23"/>
              </a:buClr>
              <a:buSzPts val="2000"/>
            </a:pP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>Upcoming Service Improvements</a:t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/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>Fall 2018 - September</a:t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>Winter 2018 – December</a:t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>Next Steps</a:t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/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/>
            </a:r>
            <a:br>
              <a:rPr lang="en" sz="3000" dirty="0" smtClean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r>
              <a:rPr lang="en" sz="3000" dirty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  <a:t/>
            </a:r>
            <a:br>
              <a:rPr lang="en" sz="3000" dirty="0">
                <a:solidFill>
                  <a:srgbClr val="FFCE0C"/>
                </a:solidFill>
                <a:latin typeface="Lato"/>
                <a:ea typeface="Lato"/>
                <a:cs typeface="Lato"/>
                <a:sym typeface="Lato"/>
              </a:rPr>
            </a:br>
            <a:endParaRPr lang="en" sz="3000" dirty="0" smtClean="0">
              <a:solidFill>
                <a:srgbClr val="FFCE0C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013077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44383</TotalTime>
  <Words>890</Words>
  <Application>Microsoft Office PowerPoint</Application>
  <PresentationFormat>On-screen Show (4:3)</PresentationFormat>
  <Paragraphs>216</Paragraphs>
  <Slides>13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Lato</vt:lpstr>
      <vt:lpstr>Montserrat</vt:lpstr>
      <vt:lpstr>Times New Roman</vt:lpstr>
      <vt:lpstr>Verdana</vt:lpstr>
      <vt:lpstr>MBTA Default Template</vt:lpstr>
      <vt:lpstr>1_MBTA Default Template</vt:lpstr>
      <vt:lpstr>Better Bus Project - Update</vt:lpstr>
      <vt:lpstr>Overview</vt:lpstr>
      <vt:lpstr>The MBTA Bus Network  Strategy  Elements of Improving the Bus Network Timeline and Sequencing Our Current Bus Network Strategy for Expediting Improvements</vt:lpstr>
      <vt:lpstr>PowerPoint Presentation</vt:lpstr>
      <vt:lpstr>Timeline and Sequencing </vt:lpstr>
      <vt:lpstr>PowerPoint Presentation</vt:lpstr>
      <vt:lpstr>Service Improvements  As of April 1, 2018</vt:lpstr>
      <vt:lpstr>Commitment to Service Improvement – April</vt:lpstr>
      <vt:lpstr>Upcoming Service Improvements  Fall 2018 - September Winter 2018 – December Next Steps    </vt:lpstr>
      <vt:lpstr>Commitment to Service Improvement – September </vt:lpstr>
      <vt:lpstr>December: Focused Approach for Expedited Improvement </vt:lpstr>
      <vt:lpstr>PowerPoint Presentation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Casey, Jessica</cp:lastModifiedBy>
  <cp:revision>1496</cp:revision>
  <cp:lastPrinted>2018-07-12T13:43:48Z</cp:lastPrinted>
  <dcterms:created xsi:type="dcterms:W3CDTF">2016-04-11T13:25:01Z</dcterms:created>
  <dcterms:modified xsi:type="dcterms:W3CDTF">2018-07-16T21:44:31Z</dcterms:modified>
</cp:coreProperties>
</file>